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87FECD-94A1-40D4-B4FB-92C307B5B4D4}" v="49" dt="2023-03-17T23:44:04.8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587FECD-94A1-40D4-B4FB-92C307B5B4D4}"/>
    <pc:docChg chg="modSld">
      <pc:chgData name="Roberto Gallardo" userId="49a044883f185952" providerId="LiveId" clId="{C587FECD-94A1-40D4-B4FB-92C307B5B4D4}" dt="2023-03-17T23:44:13.103" v="209" actId="1076"/>
      <pc:docMkLst>
        <pc:docMk/>
      </pc:docMkLst>
      <pc:sldChg chg="addSp modSp mod">
        <pc:chgData name="Roberto Gallardo" userId="49a044883f185952" providerId="LiveId" clId="{C587FECD-94A1-40D4-B4FB-92C307B5B4D4}" dt="2023-03-17T23:38:23.771" v="6" actId="1076"/>
        <pc:sldMkLst>
          <pc:docMk/>
          <pc:sldMk cId="1418533539" sldId="271"/>
        </pc:sldMkLst>
        <pc:picChg chg="add mod">
          <ac:chgData name="Roberto Gallardo" userId="49a044883f185952" providerId="LiveId" clId="{C587FECD-94A1-40D4-B4FB-92C307B5B4D4}" dt="2023-03-17T23:38:23.771" v="6" actId="1076"/>
          <ac:picMkLst>
            <pc:docMk/>
            <pc:sldMk cId="1418533539" sldId="271"/>
            <ac:picMk id="6" creationId="{182A2D82-0CE7-73BD-E88C-6C2AD669AE6D}"/>
          </ac:picMkLst>
        </pc:picChg>
      </pc:sldChg>
      <pc:sldChg chg="addSp modSp mod">
        <pc:chgData name="Roberto Gallardo" userId="49a044883f185952" providerId="LiveId" clId="{C587FECD-94A1-40D4-B4FB-92C307B5B4D4}" dt="2023-03-17T23:40:40.943" v="76" actId="1076"/>
        <pc:sldMkLst>
          <pc:docMk/>
          <pc:sldMk cId="2124848710" sldId="281"/>
        </pc:sldMkLst>
        <pc:picChg chg="add mod">
          <ac:chgData name="Roberto Gallardo" userId="49a044883f185952" providerId="LiveId" clId="{C587FECD-94A1-40D4-B4FB-92C307B5B4D4}" dt="2023-03-17T23:40:40.943" v="76" actId="1076"/>
          <ac:picMkLst>
            <pc:docMk/>
            <pc:sldMk cId="2124848710" sldId="281"/>
            <ac:picMk id="6" creationId="{FDD0581B-51E4-12E3-4F32-68094767029D}"/>
          </ac:picMkLst>
        </pc:picChg>
      </pc:sldChg>
      <pc:sldChg chg="addSp modSp mod">
        <pc:chgData name="Roberto Gallardo" userId="49a044883f185952" providerId="LiveId" clId="{C587FECD-94A1-40D4-B4FB-92C307B5B4D4}" dt="2023-03-17T23:40:56.015" v="87" actId="1076"/>
        <pc:sldMkLst>
          <pc:docMk/>
          <pc:sldMk cId="2028175529" sldId="282"/>
        </pc:sldMkLst>
        <pc:picChg chg="add mod">
          <ac:chgData name="Roberto Gallardo" userId="49a044883f185952" providerId="LiveId" clId="{C587FECD-94A1-40D4-B4FB-92C307B5B4D4}" dt="2023-03-17T23:40:56.015" v="87" actId="1076"/>
          <ac:picMkLst>
            <pc:docMk/>
            <pc:sldMk cId="2028175529" sldId="282"/>
            <ac:picMk id="7" creationId="{CEAAC333-312E-7E30-CC23-80388388FA6C}"/>
          </ac:picMkLst>
        </pc:picChg>
      </pc:sldChg>
      <pc:sldChg chg="addSp modSp mod">
        <pc:chgData name="Roberto Gallardo" userId="49a044883f185952" providerId="LiveId" clId="{C587FECD-94A1-40D4-B4FB-92C307B5B4D4}" dt="2023-03-17T23:41:10.655" v="97" actId="1076"/>
        <pc:sldMkLst>
          <pc:docMk/>
          <pc:sldMk cId="1326517747" sldId="283"/>
        </pc:sldMkLst>
        <pc:picChg chg="add mod">
          <ac:chgData name="Roberto Gallardo" userId="49a044883f185952" providerId="LiveId" clId="{C587FECD-94A1-40D4-B4FB-92C307B5B4D4}" dt="2023-03-17T23:41:10.655" v="97" actId="1076"/>
          <ac:picMkLst>
            <pc:docMk/>
            <pc:sldMk cId="1326517747" sldId="283"/>
            <ac:picMk id="7" creationId="{BC79A741-967A-7983-874F-F5B44604002E}"/>
          </ac:picMkLst>
        </pc:picChg>
      </pc:sldChg>
      <pc:sldChg chg="addSp modSp mod">
        <pc:chgData name="Roberto Gallardo" userId="49a044883f185952" providerId="LiveId" clId="{C587FECD-94A1-40D4-B4FB-92C307B5B4D4}" dt="2023-03-17T23:41:27.835" v="107" actId="1076"/>
        <pc:sldMkLst>
          <pc:docMk/>
          <pc:sldMk cId="783739251" sldId="284"/>
        </pc:sldMkLst>
        <pc:picChg chg="add mod">
          <ac:chgData name="Roberto Gallardo" userId="49a044883f185952" providerId="LiveId" clId="{C587FECD-94A1-40D4-B4FB-92C307B5B4D4}" dt="2023-03-17T23:41:27.835" v="107" actId="1076"/>
          <ac:picMkLst>
            <pc:docMk/>
            <pc:sldMk cId="783739251" sldId="284"/>
            <ac:picMk id="7" creationId="{53BC70FD-15EC-579C-3753-70CB3AAE4D07}"/>
          </ac:picMkLst>
        </pc:picChg>
      </pc:sldChg>
      <pc:sldChg chg="addSp modSp mod">
        <pc:chgData name="Roberto Gallardo" userId="49a044883f185952" providerId="LiveId" clId="{C587FECD-94A1-40D4-B4FB-92C307B5B4D4}" dt="2023-03-17T23:41:44.131" v="120" actId="1076"/>
        <pc:sldMkLst>
          <pc:docMk/>
          <pc:sldMk cId="1676122233" sldId="285"/>
        </pc:sldMkLst>
        <pc:picChg chg="add mod">
          <ac:chgData name="Roberto Gallardo" userId="49a044883f185952" providerId="LiveId" clId="{C587FECD-94A1-40D4-B4FB-92C307B5B4D4}" dt="2023-03-17T23:41:44.131" v="120" actId="1076"/>
          <ac:picMkLst>
            <pc:docMk/>
            <pc:sldMk cId="1676122233" sldId="285"/>
            <ac:picMk id="7" creationId="{74A01A0A-A497-807C-62B5-25CAEC1D6CC4}"/>
          </ac:picMkLst>
        </pc:picChg>
      </pc:sldChg>
      <pc:sldChg chg="addSp modSp mod">
        <pc:chgData name="Roberto Gallardo" userId="49a044883f185952" providerId="LiveId" clId="{C587FECD-94A1-40D4-B4FB-92C307B5B4D4}" dt="2023-03-17T23:42:05.083" v="134" actId="1076"/>
        <pc:sldMkLst>
          <pc:docMk/>
          <pc:sldMk cId="3100398757" sldId="286"/>
        </pc:sldMkLst>
        <pc:picChg chg="add mod">
          <ac:chgData name="Roberto Gallardo" userId="49a044883f185952" providerId="LiveId" clId="{C587FECD-94A1-40D4-B4FB-92C307B5B4D4}" dt="2023-03-17T23:42:05.083" v="134" actId="1076"/>
          <ac:picMkLst>
            <pc:docMk/>
            <pc:sldMk cId="3100398757" sldId="286"/>
            <ac:picMk id="7" creationId="{75B4C9CF-8F02-F89A-8F38-F0D79C4C53B3}"/>
          </ac:picMkLst>
        </pc:picChg>
      </pc:sldChg>
      <pc:sldChg chg="addSp modSp mod">
        <pc:chgData name="Roberto Gallardo" userId="49a044883f185952" providerId="LiveId" clId="{C587FECD-94A1-40D4-B4FB-92C307B5B4D4}" dt="2023-03-17T23:42:20.302" v="145" actId="1076"/>
        <pc:sldMkLst>
          <pc:docMk/>
          <pc:sldMk cId="1546475425" sldId="287"/>
        </pc:sldMkLst>
        <pc:picChg chg="add mod">
          <ac:chgData name="Roberto Gallardo" userId="49a044883f185952" providerId="LiveId" clId="{C587FECD-94A1-40D4-B4FB-92C307B5B4D4}" dt="2023-03-17T23:42:20.302" v="145" actId="1076"/>
          <ac:picMkLst>
            <pc:docMk/>
            <pc:sldMk cId="1546475425" sldId="287"/>
            <ac:picMk id="7" creationId="{F32497BA-E58B-B315-4877-21B2449C55F8}"/>
          </ac:picMkLst>
        </pc:picChg>
      </pc:sldChg>
      <pc:sldChg chg="addSp modSp mod">
        <pc:chgData name="Roberto Gallardo" userId="49a044883f185952" providerId="LiveId" clId="{C587FECD-94A1-40D4-B4FB-92C307B5B4D4}" dt="2023-03-17T23:42:56.740" v="167" actId="1076"/>
        <pc:sldMkLst>
          <pc:docMk/>
          <pc:sldMk cId="1380517306" sldId="288"/>
        </pc:sldMkLst>
        <pc:picChg chg="add mod">
          <ac:chgData name="Roberto Gallardo" userId="49a044883f185952" providerId="LiveId" clId="{C587FECD-94A1-40D4-B4FB-92C307B5B4D4}" dt="2023-03-17T23:42:56.740" v="167" actId="1076"/>
          <ac:picMkLst>
            <pc:docMk/>
            <pc:sldMk cId="1380517306" sldId="288"/>
            <ac:picMk id="7" creationId="{28405AFA-7884-ED33-1E2E-BE17D54C1656}"/>
          </ac:picMkLst>
        </pc:picChg>
      </pc:sldChg>
      <pc:sldChg chg="addSp modSp mod">
        <pc:chgData name="Roberto Gallardo" userId="49a044883f185952" providerId="LiveId" clId="{C587FECD-94A1-40D4-B4FB-92C307B5B4D4}" dt="2023-03-17T23:43:13.303" v="179" actId="1076"/>
        <pc:sldMkLst>
          <pc:docMk/>
          <pc:sldMk cId="1388671151" sldId="289"/>
        </pc:sldMkLst>
        <pc:picChg chg="add mod">
          <ac:chgData name="Roberto Gallardo" userId="49a044883f185952" providerId="LiveId" clId="{C587FECD-94A1-40D4-B4FB-92C307B5B4D4}" dt="2023-03-17T23:43:13.303" v="179" actId="1076"/>
          <ac:picMkLst>
            <pc:docMk/>
            <pc:sldMk cId="1388671151" sldId="289"/>
            <ac:picMk id="7" creationId="{55AB767D-D2D7-ED71-4131-053EADCA3C3F}"/>
          </ac:picMkLst>
        </pc:picChg>
      </pc:sldChg>
      <pc:sldChg chg="addSp modSp mod">
        <pc:chgData name="Roberto Gallardo" userId="49a044883f185952" providerId="LiveId" clId="{C587FECD-94A1-40D4-B4FB-92C307B5B4D4}" dt="2023-03-17T23:43:44.463" v="200" actId="1076"/>
        <pc:sldMkLst>
          <pc:docMk/>
          <pc:sldMk cId="2355376039" sldId="290"/>
        </pc:sldMkLst>
        <pc:picChg chg="add mod">
          <ac:chgData name="Roberto Gallardo" userId="49a044883f185952" providerId="LiveId" clId="{C587FECD-94A1-40D4-B4FB-92C307B5B4D4}" dt="2023-03-17T23:43:44.463" v="200" actId="1076"/>
          <ac:picMkLst>
            <pc:docMk/>
            <pc:sldMk cId="2355376039" sldId="290"/>
            <ac:picMk id="8" creationId="{F285C0B7-35B4-D3C5-4096-4C691CD7E1F3}"/>
          </ac:picMkLst>
        </pc:picChg>
      </pc:sldChg>
      <pc:sldChg chg="addSp modSp mod">
        <pc:chgData name="Roberto Gallardo" userId="49a044883f185952" providerId="LiveId" clId="{C587FECD-94A1-40D4-B4FB-92C307B5B4D4}" dt="2023-03-17T23:44:13.103" v="209" actId="1076"/>
        <pc:sldMkLst>
          <pc:docMk/>
          <pc:sldMk cId="3757257295" sldId="291"/>
        </pc:sldMkLst>
        <pc:picChg chg="add mod">
          <ac:chgData name="Roberto Gallardo" userId="49a044883f185952" providerId="LiveId" clId="{C587FECD-94A1-40D4-B4FB-92C307B5B4D4}" dt="2023-03-17T23:44:13.103" v="209" actId="1076"/>
          <ac:picMkLst>
            <pc:docMk/>
            <pc:sldMk cId="3757257295" sldId="291"/>
            <ac:picMk id="8" creationId="{41CA5745-55DE-8C3B-47C0-C7B751F3BBDE}"/>
          </ac:picMkLst>
        </pc:picChg>
      </pc:sldChg>
      <pc:sldChg chg="addSp modSp mod">
        <pc:chgData name="Roberto Gallardo" userId="49a044883f185952" providerId="LiveId" clId="{C587FECD-94A1-40D4-B4FB-92C307B5B4D4}" dt="2023-03-17T23:42:39.938" v="157" actId="1076"/>
        <pc:sldMkLst>
          <pc:docMk/>
          <pc:sldMk cId="1259856727" sldId="292"/>
        </pc:sldMkLst>
        <pc:picChg chg="add mod">
          <ac:chgData name="Roberto Gallardo" userId="49a044883f185952" providerId="LiveId" clId="{C587FECD-94A1-40D4-B4FB-92C307B5B4D4}" dt="2023-03-17T23:42:39.938" v="157" actId="1076"/>
          <ac:picMkLst>
            <pc:docMk/>
            <pc:sldMk cId="1259856727" sldId="292"/>
            <ac:picMk id="7" creationId="{A1CE83DA-921B-2372-D01D-27C9E0B30166}"/>
          </ac:picMkLst>
        </pc:picChg>
      </pc:sldChg>
      <pc:sldChg chg="addSp modSp mod">
        <pc:chgData name="Roberto Gallardo" userId="49a044883f185952" providerId="LiveId" clId="{C587FECD-94A1-40D4-B4FB-92C307B5B4D4}" dt="2023-03-17T23:40:22.640" v="63" actId="1076"/>
        <pc:sldMkLst>
          <pc:docMk/>
          <pc:sldMk cId="3324519687" sldId="293"/>
        </pc:sldMkLst>
        <pc:picChg chg="add mod">
          <ac:chgData name="Roberto Gallardo" userId="49a044883f185952" providerId="LiveId" clId="{C587FECD-94A1-40D4-B4FB-92C307B5B4D4}" dt="2023-03-17T23:40:22.640" v="63" actId="1076"/>
          <ac:picMkLst>
            <pc:docMk/>
            <pc:sldMk cId="3324519687" sldId="293"/>
            <ac:picMk id="7" creationId="{F61B2E34-B0DE-6D2C-2F12-928974C4D85C}"/>
          </ac:picMkLst>
        </pc:picChg>
      </pc:sldChg>
      <pc:sldChg chg="addSp modSp mod">
        <pc:chgData name="Roberto Gallardo" userId="49a044883f185952" providerId="LiveId" clId="{C587FECD-94A1-40D4-B4FB-92C307B5B4D4}" dt="2023-03-17T23:39:40.071" v="43" actId="1076"/>
        <pc:sldMkLst>
          <pc:docMk/>
          <pc:sldMk cId="3256182630" sldId="295"/>
        </pc:sldMkLst>
        <pc:picChg chg="add mod">
          <ac:chgData name="Roberto Gallardo" userId="49a044883f185952" providerId="LiveId" clId="{C587FECD-94A1-40D4-B4FB-92C307B5B4D4}" dt="2023-03-17T23:39:40.071" v="43" actId="1076"/>
          <ac:picMkLst>
            <pc:docMk/>
            <pc:sldMk cId="3256182630" sldId="295"/>
            <ac:picMk id="7" creationId="{AA6719DF-CF56-B526-A0D2-DBFA4C453B23}"/>
          </ac:picMkLst>
        </pc:picChg>
      </pc:sldChg>
      <pc:sldChg chg="addSp modSp mod">
        <pc:chgData name="Roberto Gallardo" userId="49a044883f185952" providerId="LiveId" clId="{C587FECD-94A1-40D4-B4FB-92C307B5B4D4}" dt="2023-03-17T23:39:57.526" v="55" actId="1076"/>
        <pc:sldMkLst>
          <pc:docMk/>
          <pc:sldMk cId="4057156843" sldId="296"/>
        </pc:sldMkLst>
        <pc:picChg chg="add mod">
          <ac:chgData name="Roberto Gallardo" userId="49a044883f185952" providerId="LiveId" clId="{C587FECD-94A1-40D4-B4FB-92C307B5B4D4}" dt="2023-03-17T23:39:57.526" v="55" actId="1076"/>
          <ac:picMkLst>
            <pc:docMk/>
            <pc:sldMk cId="4057156843" sldId="296"/>
            <ac:picMk id="7" creationId="{3BBD3B9A-8C78-B72C-179C-3360DED23142}"/>
          </ac:picMkLst>
        </pc:picChg>
      </pc:sldChg>
      <pc:sldChg chg="addSp modSp mod">
        <pc:chgData name="Roberto Gallardo" userId="49a044883f185952" providerId="LiveId" clId="{C587FECD-94A1-40D4-B4FB-92C307B5B4D4}" dt="2023-03-17T23:39:12.994" v="31" actId="1076"/>
        <pc:sldMkLst>
          <pc:docMk/>
          <pc:sldMk cId="2080110827" sldId="297"/>
        </pc:sldMkLst>
        <pc:picChg chg="add mod">
          <ac:chgData name="Roberto Gallardo" userId="49a044883f185952" providerId="LiveId" clId="{C587FECD-94A1-40D4-B4FB-92C307B5B4D4}" dt="2023-03-17T23:39:12.994" v="31" actId="1076"/>
          <ac:picMkLst>
            <pc:docMk/>
            <pc:sldMk cId="2080110827" sldId="297"/>
            <ac:picMk id="6" creationId="{C6AEA1F8-8E7B-B7D3-34FB-892B0296CF2F}"/>
          </ac:picMkLst>
        </pc:picChg>
      </pc:sldChg>
      <pc:sldChg chg="addSp modSp mod">
        <pc:chgData name="Roberto Gallardo" userId="49a044883f185952" providerId="LiveId" clId="{C587FECD-94A1-40D4-B4FB-92C307B5B4D4}" dt="2023-03-17T23:38:56.035" v="23" actId="1076"/>
        <pc:sldMkLst>
          <pc:docMk/>
          <pc:sldMk cId="1532666867" sldId="298"/>
        </pc:sldMkLst>
        <pc:picChg chg="add mod">
          <ac:chgData name="Roberto Gallardo" userId="49a044883f185952" providerId="LiveId" clId="{C587FECD-94A1-40D4-B4FB-92C307B5B4D4}" dt="2023-03-17T23:38:56.035" v="23" actId="1076"/>
          <ac:picMkLst>
            <pc:docMk/>
            <pc:sldMk cId="1532666867" sldId="298"/>
            <ac:picMk id="6" creationId="{21794ACD-BBC1-FF59-EAAF-348BDA7C9578}"/>
          </ac:picMkLst>
        </pc:picChg>
      </pc:sldChg>
      <pc:sldChg chg="addSp modSp mod">
        <pc:chgData name="Roberto Gallardo" userId="49a044883f185952" providerId="LiveId" clId="{C587FECD-94A1-40D4-B4FB-92C307B5B4D4}" dt="2023-03-17T23:43:27.414" v="189" actId="1076"/>
        <pc:sldMkLst>
          <pc:docMk/>
          <pc:sldMk cId="1951376777" sldId="299"/>
        </pc:sldMkLst>
        <pc:picChg chg="add mod">
          <ac:chgData name="Roberto Gallardo" userId="49a044883f185952" providerId="LiveId" clId="{C587FECD-94A1-40D4-B4FB-92C307B5B4D4}" dt="2023-03-17T23:43:27.414" v="189" actId="1076"/>
          <ac:picMkLst>
            <pc:docMk/>
            <pc:sldMk cId="1951376777" sldId="299"/>
            <ac:picMk id="7" creationId="{86D70EB2-D043-F508-D479-46CA1E89560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Alexander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0A2C4F1-7E50-0CA6-AE0E-FD9CE289273C}"/>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849F20AF-FF95-DD9F-8721-A44B2F211D4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82A2D82-0CE7-73BD-E88C-6C2AD669AE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1794ACD-BBC1-FF59-EAAF-348BDA7C95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0748" y="1028700"/>
            <a:ext cx="7614303" cy="538451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6AEA1F8-8E7B-B7D3-34FB-892B0296CF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52C3447-23DF-8555-0151-1DBC4627DB40}"/>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AA6719DF-CF56-B526-A0D2-DBFA4C453B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AA6AE7F-7217-A145-664C-BFC9DB789275}"/>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3BBD3B9A-8C78-B72C-179C-3360DED23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804" y="1443170"/>
            <a:ext cx="6380796" cy="4512225"/>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DD43D48-2482-88E0-B944-EC60F091E051}"/>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F61B2E34-B0DE-6D2C-2F12-928974C4D8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37A3315-F90C-0623-6584-7633B7E7FF48}"/>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FDD0581B-51E4-12E3-4F32-6809476702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4DA09AE-4D9B-C6E2-3857-8EACFFDE1CEC}"/>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CEAAC333-312E-7E30-CC23-80388388FA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584"/>
            <a:ext cx="6404900" cy="45292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4C7A122-5AD3-40E9-A948-5AF62DA41760}"/>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C79A741-967A-7983-874F-F5B4460400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A8E12A5-A70A-2AD2-1B44-7816F9C42605}"/>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53BC70FD-15EC-579C-3753-70CB3AAE4D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54EFF40-A349-C204-762C-727643D4A24F}"/>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74A01A0A-A497-807C-62B5-25CAEC1D6C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FB8559B-7CCB-0C89-3A48-B75738C59C8B}"/>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75B4C9CF-8F02-F89A-8F38-F0D79C4C53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1"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2599006-4277-193F-ECCC-972432234F56}"/>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F32497BA-E58B-B315-4877-21B2449C55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4C7328-2D02-B875-AF0C-ABC0FDB6BFA0}"/>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A1CE83DA-921B-2372-D01D-27C9E0B301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6575"/>
            <a:ext cx="6408944" cy="453213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AC12E0D-A8ED-70E1-8468-363D2DC6FBAE}"/>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28405AFA-7884-ED33-1E2E-BE17D54C16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9C1E565-6B8A-7698-6AC6-E86E0EBD6547}"/>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5AB767D-D2D7-ED71-4131-053EADCA3C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9EF0EFD8-BB01-4961-66D0-7C9EEFFC3CF7}"/>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86D70EB2-D043-F508-D479-46CA1E8956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30EEB1D-03EA-4CE0-3F9E-D0BC08AA36C0}"/>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F285C0B7-35B4-D3C5-4096-4C691CD7E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1" y="1416753"/>
            <a:ext cx="6396789"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6BC29A5-E479-FC22-0A4A-679890D373FA}"/>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F3D47DB0-2122-A437-C29C-A3319EB4EF6B}"/>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41CA5745-55DE-8C3B-47C0-C7B751F3BB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34FAFC99-7FFF-F7A0-6A35-FD17B45022BE}"/>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14E721D-18D0-B91E-209B-5C2553161564}"/>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0461BFF-EDF7-8D7A-F56E-2FD5269C863E}"/>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573092"/>
            <a:ext cx="1198148" cy="2430395"/>
            <a:chOff x="10485745" y="1792651"/>
            <a:chExt cx="1198148" cy="2430395"/>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6239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79265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792651"/>
              <a:ext cx="0" cy="8313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516511"/>
              <a:ext cx="0" cy="70653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650006"/>
            <a:ext cx="1198148" cy="2164568"/>
            <a:chOff x="2775759" y="2380239"/>
            <a:chExt cx="1198148" cy="216456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2304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5</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912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80239"/>
              <a:ext cx="0" cy="64280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15593"/>
              <a:ext cx="0" cy="6292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4767C1C7-7CFC-653D-4D5C-38D50D5DF69C}"/>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87FBCF6-BE8E-3A4A-979F-37780F66044D}"/>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F8BF0A-EF87-F0C0-1375-F932F30454C1}"/>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7AD4734-1687-A5B2-596C-9F1848C4504F}"/>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BE346C4-889C-85BB-F925-828E3D562007}"/>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5293457-B7F7-8934-9DB0-E44A0D778B3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06BCEAA-3A3D-29A8-74B4-77FAB9B0C6C5}"/>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1309027-5B5A-85DD-F184-B3B1198CEBF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9</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90</cp:revision>
  <dcterms:created xsi:type="dcterms:W3CDTF">2022-07-04T13:32:28Z</dcterms:created>
  <dcterms:modified xsi:type="dcterms:W3CDTF">2023-03-17T23:44:14Z</dcterms:modified>
</cp:coreProperties>
</file>